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1"/>
  </p:notesMasterIdLst>
  <p:handoutMasterIdLst>
    <p:handoutMasterId r:id="rId12"/>
  </p:handoutMasterIdLst>
  <p:sldIdLst>
    <p:sldId id="257" r:id="rId5"/>
    <p:sldId id="268" r:id="rId6"/>
    <p:sldId id="266" r:id="rId7"/>
    <p:sldId id="262" r:id="rId8"/>
    <p:sldId id="269" r:id="rId9"/>
    <p:sldId id="267" r:id="rId10"/>
  </p:sldIdLst>
  <p:sldSz cx="9144000" cy="5143500" type="screen16x9"/>
  <p:notesSz cx="6858000" cy="9144000"/>
  <p:custDataLst>
    <p:tags r:id="rId13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3333"/>
  </p:normalViewPr>
  <p:slideViewPr>
    <p:cSldViewPr snapToGrid="0">
      <p:cViewPr varScale="1">
        <p:scale>
          <a:sx n="159" d="100"/>
          <a:sy n="159" d="100"/>
        </p:scale>
        <p:origin x="824" y="184"/>
      </p:cViewPr>
      <p:guideLst>
        <p:guide orient="horz" pos="2913"/>
        <p:guide orient="horz" pos="1495"/>
        <p:guide pos="55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6.2.2025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6.2.2025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/>
              <a:t>Click to edit Master subtitle style </a:t>
            </a:r>
            <a:endParaRPr lang="fi-FI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6.2.2025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6.2.2025</a:t>
            </a:fld>
            <a:endParaRPr lang="fi-FI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D0F1F-7BA6-CB08-4AE2-1A5AEFE5E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6.2.2025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F255A72-3287-BF56-F7D5-150EF5D340C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jpeg"/><Relationship Id="rId5" Type="http://schemas.openxmlformats.org/officeDocument/2006/relationships/image" Target="../media/image15.jpg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piha-, henkilö, jalkineet&#10;&#10;Kuvaus luotu automaattisesti">
            <a:extLst>
              <a:ext uri="{FF2B5EF4-FFF2-40B4-BE49-F238E27FC236}">
                <a16:creationId xmlns:a16="http://schemas.microsoft.com/office/drawing/2014/main" id="{9B66B32C-9B32-2188-8C42-F7C2333B9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16"/>
            <a:ext cx="3429000" cy="51435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75CFCD-7BCA-4086-5F48-CED009742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59091" y="3464310"/>
            <a:ext cx="1784909" cy="344050"/>
          </a:xfrm>
        </p:spPr>
        <p:txBody>
          <a:bodyPr/>
          <a:lstStyle/>
          <a:p>
            <a:pPr marL="0" indent="0">
              <a:buNone/>
            </a:pPr>
            <a:r>
              <a:rPr lang="en-GB" err="1"/>
              <a:t>Yhteistyössä</a:t>
            </a:r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851670"/>
            <a:ext cx="4011850" cy="827999"/>
          </a:xfrm>
        </p:spPr>
        <p:txBody>
          <a:bodyPr vert="horz"/>
          <a:lstStyle/>
          <a:p>
            <a:r>
              <a:rPr lang="en-GB" dirty="0" err="1"/>
              <a:t>Haastetehtävä</a:t>
            </a:r>
            <a:r>
              <a:rPr lang="en-GB" dirty="0"/>
              <a:t>: </a:t>
            </a:r>
            <a:r>
              <a:rPr lang="sv-SE" dirty="0" err="1">
                <a:effectLst/>
                <a:ea typeface="Aptos" panose="020B0004020202020204" pitchFamily="34" charset="0"/>
              </a:rPr>
              <a:t>Innovatiivinen</a:t>
            </a:r>
            <a:r>
              <a:rPr lang="sv-SE" dirty="0">
                <a:effectLst/>
                <a:ea typeface="Aptos" panose="020B0004020202020204" pitchFamily="34" charset="0"/>
              </a:rPr>
              <a:t> </a:t>
            </a:r>
            <a:r>
              <a:rPr lang="sv-SE" dirty="0" err="1">
                <a:effectLst/>
                <a:ea typeface="Aptos" panose="020B0004020202020204" pitchFamily="34" charset="0"/>
              </a:rPr>
              <a:t>lajitteluohje</a:t>
            </a:r>
            <a:r>
              <a:rPr lang="sv-SE" dirty="0">
                <a:effectLst/>
              </a:rPr>
              <a:t> </a:t>
            </a:r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B1E648F3-7607-F682-4A22-EAF76160C5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5853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8050" y="869785"/>
            <a:ext cx="4266475" cy="3403929"/>
          </a:xfrm>
        </p:spPr>
        <p:txBody>
          <a:bodyPr/>
          <a:lstStyle/>
          <a:p>
            <a:pPr marL="0" indent="0">
              <a:buNone/>
            </a:pP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Laadi uusi lajitteluohje kartonkipakkauksille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Luokallanne on nyt mahdollisuus vaikuttaa kartonkipakkausten lajitteluohjeen ulkonäköön!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Miltä ohjeiden tulisi teidän mielestä näyttää, jotta oikeaoppinen lajittelu olisi helppoa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Mitä tietoja tarvitaan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Tuleeko ohjeen sisältää pelkästään tekstiä?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Entä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kuvia?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Pakkausten oikeaoppisen lajittelun pitää olla helppoa!</a:t>
            </a:r>
          </a:p>
          <a:p>
            <a:pPr marL="0" indent="0">
              <a:buNone/>
            </a:pPr>
            <a:endParaRPr lang="sv-SE" sz="1600" dirty="0">
              <a:solidFill>
                <a:srgbClr val="363636"/>
              </a:solidFill>
              <a:effectLst/>
              <a:latin typeface="Helvetica" pitchFamily="2" charset="0"/>
            </a:endParaRPr>
          </a:p>
          <a:p>
            <a:pPr marL="0" indent="0">
              <a:buNone/>
            </a:pP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12" name="Kuva 11" descr="Kuva, joka sisältää kohteen teksti, vaate, käsiala, henkilö&#10;&#10;Kuvaus luotu automaattisesti">
            <a:extLst>
              <a:ext uri="{FF2B5EF4-FFF2-40B4-BE49-F238E27FC236}">
                <a16:creationId xmlns:a16="http://schemas.microsoft.com/office/drawing/2014/main" id="{CDAB282C-38B8-FDE3-04DB-41A7840790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1216" y="26342"/>
            <a:ext cx="2555777" cy="3833666"/>
          </a:xfrm>
          <a:prstGeom prst="rect">
            <a:avLst/>
          </a:prstGeom>
        </p:spPr>
      </p:pic>
      <p:pic>
        <p:nvPicPr>
          <p:cNvPr id="6" name="Kuva 5" descr="Kuva, joka sisältää kohteen teksti, kuvakaappaus, Fontti, muotoilu&#10;&#10;Kuvaus luotu automaattisesti">
            <a:extLst>
              <a:ext uri="{FF2B5EF4-FFF2-40B4-BE49-F238E27FC236}">
                <a16:creationId xmlns:a16="http://schemas.microsoft.com/office/drawing/2014/main" id="{1A49E533-F155-D21E-E4FC-0096963FE5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185267">
            <a:off x="5109441" y="1709951"/>
            <a:ext cx="2220588" cy="3148489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A459CD53-DA25-EC9C-C3B1-7FDA69DD661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78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Esimerkkejä</a:t>
            </a:r>
            <a:r>
              <a:rPr lang="sv-SE" dirty="0"/>
              <a:t> </a:t>
            </a:r>
            <a:r>
              <a:rPr lang="sv-SE" dirty="0" err="1"/>
              <a:t>aikaisemmilta</a:t>
            </a:r>
            <a:r>
              <a:rPr lang="sv-SE" dirty="0"/>
              <a:t> </a:t>
            </a:r>
            <a:r>
              <a:rPr lang="sv-SE" dirty="0" err="1"/>
              <a:t>kilpailukausilta</a:t>
            </a:r>
            <a:r>
              <a:rPr lang="sv-SE" dirty="0"/>
              <a:t>: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11217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B25C866-53DE-CFCB-B230-363E24EC9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8" name="Kuva 7" descr="Kuva, joka sisältää kohteen teksti, puu, piha-, kuvakaappaus&#10;&#10;Kuvaus luotu automaattisesti">
            <a:extLst>
              <a:ext uri="{FF2B5EF4-FFF2-40B4-BE49-F238E27FC236}">
                <a16:creationId xmlns:a16="http://schemas.microsoft.com/office/drawing/2014/main" id="{D40E73C0-8D7E-F172-DDB4-9FC72A4883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790632"/>
            <a:ext cx="3903188" cy="2927391"/>
          </a:xfrm>
          <a:prstGeom prst="rect">
            <a:avLst/>
          </a:prstGeom>
        </p:spPr>
      </p:pic>
      <p:pic>
        <p:nvPicPr>
          <p:cNvPr id="10" name="Bildobjekt 9" descr="En bild som visar klädsel, leende, ballong, person&#10;&#10;Automatiskt genererad beskrivning">
            <a:extLst>
              <a:ext uri="{FF2B5EF4-FFF2-40B4-BE49-F238E27FC236}">
                <a16:creationId xmlns:a16="http://schemas.microsoft.com/office/drawing/2014/main" id="{E50CFF14-23E8-7746-C0E2-FF6D22CC2D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590" y="790632"/>
            <a:ext cx="2133948" cy="3200923"/>
          </a:xfrm>
          <a:prstGeom prst="rect">
            <a:avLst/>
          </a:prstGeom>
        </p:spPr>
      </p:pic>
      <p:pic>
        <p:nvPicPr>
          <p:cNvPr id="11" name="Kuva 10" descr="Kuva, joka sisältää kohteen piha-, taivas, teksti, pilvi&#10;&#10;Kuvaus luotu automaattisesti">
            <a:extLst>
              <a:ext uri="{FF2B5EF4-FFF2-40B4-BE49-F238E27FC236}">
                <a16:creationId xmlns:a16="http://schemas.microsoft.com/office/drawing/2014/main" id="{30FA09A1-C0FB-86BC-82BC-FEFC3337BF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0550" y="1635646"/>
            <a:ext cx="3037358" cy="30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>
            <a:extLst>
              <a:ext uri="{FF2B5EF4-FFF2-40B4-BE49-F238E27FC236}">
                <a16:creationId xmlns:a16="http://schemas.microsoft.com/office/drawing/2014/main" id="{1E1FEB01-8986-9DBD-D4CE-135DC60AE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5" y="0"/>
            <a:ext cx="3857625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39552" y="446115"/>
            <a:ext cx="3888432" cy="4032448"/>
          </a:xfrm>
        </p:spPr>
        <p:txBody>
          <a:bodyPr/>
          <a:lstStyle/>
          <a:p>
            <a:pPr marL="731" indent="0">
              <a:buNone/>
            </a:pPr>
            <a:r>
              <a:rPr lang="sv-SE" b="1" dirty="0" err="1">
                <a:latin typeface="Arial" panose="020B0604020202020204" pitchFamily="34" charset="0"/>
                <a:cs typeface="Arial" panose="020B0604020202020204" pitchFamily="34" charset="0"/>
              </a:rPr>
              <a:t>Toimikaa</a:t>
            </a:r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b="1" dirty="0" err="1">
                <a:latin typeface="Arial" panose="020B0604020202020204" pitchFamily="34" charset="0"/>
                <a:cs typeface="Arial" panose="020B0604020202020204" pitchFamily="34" charset="0"/>
              </a:rPr>
              <a:t>näin</a:t>
            </a:r>
            <a:endParaRPr lang="sv-S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Kukin luokka voi osallistua enintään kolmella kilpailuehdotuksella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Laittakaa kilpailuehdotuksenne vierekkäin ja ottakaa niistä YKSI kuva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Ladatkaa kuva Omat Sivut -osioon. </a:t>
            </a:r>
          </a:p>
          <a:p>
            <a:pPr marL="731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Rekisteröi haastetehtävä 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viimeistään 17.3.2025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 Jokainen suoritettu haaste vastaa arpaa arvonnassa, jossa arvotaan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oittjaj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kilpailun päätteeksi.</a:t>
            </a: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4605341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23E0871E-3369-A3FD-694A-5EBB297E18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7332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6C30D9B-441F-5659-A2EA-1EB4F97131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henkilö, piha-, taapero&#10;&#10;Kuvaus luotu automaattisesti">
            <a:extLst>
              <a:ext uri="{FF2B5EF4-FFF2-40B4-BE49-F238E27FC236}">
                <a16:creationId xmlns:a16="http://schemas.microsoft.com/office/drawing/2014/main" id="{7785997E-6E1D-2A15-86E7-F6F3FA579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5143500"/>
          </a:xfrm>
          <a:prstGeom prst="rect">
            <a:avLst/>
          </a:prstGeom>
        </p:spPr>
      </p:pic>
      <p:sp>
        <p:nvSpPr>
          <p:cNvPr id="13" name="Rektangel 12"/>
          <p:cNvSpPr/>
          <p:nvPr/>
        </p:nvSpPr>
        <p:spPr bwMode="auto">
          <a:xfrm>
            <a:off x="5004048" y="615677"/>
            <a:ext cx="3312368" cy="31082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28600" indent="-228600">
              <a:buFont typeface="+mj-lt"/>
              <a:buAutoNum type="arabicPeriod"/>
            </a:pPr>
            <a:endParaRPr lang="sv-SE" sz="1200">
              <a:solidFill>
                <a:schemeClr val="tx1"/>
              </a:solidFill>
              <a:latin typeface="Times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912" y="4515966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sp>
        <p:nvSpPr>
          <p:cNvPr id="4" name="Tekstiruutu 3">
            <a:extLst>
              <a:ext uri="{FF2B5EF4-FFF2-40B4-BE49-F238E27FC236}">
                <a16:creationId xmlns:a16="http://schemas.microsoft.com/office/drawing/2014/main" id="{E68028D1-EE56-B723-B33F-C5BF7C340488}"/>
              </a:ext>
            </a:extLst>
          </p:cNvPr>
          <p:cNvSpPr txBox="1"/>
          <p:nvPr/>
        </p:nvSpPr>
        <p:spPr>
          <a:xfrm>
            <a:off x="3584422" y="332828"/>
            <a:ext cx="4893151" cy="4244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fi-FI" sz="1800" b="1" kern="100" dirty="0">
                <a:effectLst/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Mahdollisuus voittaa lisäpalkintona lajitteluohjeen painatus</a:t>
            </a:r>
            <a:endParaRPr lang="sv-SE" sz="1800" kern="100" dirty="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31" indent="0" algn="l">
              <a:buNone/>
            </a:pPr>
            <a:endParaRPr lang="sv-SE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</a:pPr>
            <a:r>
              <a:rPr lang="fi-FI" sz="16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Haluatteko, että lajitteluohjeenne painatetaan ja sijoitetaan nähtäväksi koulunne lähellä sijaitsevaan kierrätyspisteeseen? </a:t>
            </a:r>
          </a:p>
          <a:p>
            <a:pPr algn="l">
              <a:buNone/>
            </a:pPr>
            <a:endParaRPr lang="fi-FI" sz="16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l">
              <a:buNone/>
            </a:pPr>
            <a:r>
              <a:rPr lang="fi-FI" sz="16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iinä tapauksessa teidän tulee rekisteröidä ehdotuksenne Minun sivut osiossa </a:t>
            </a:r>
            <a:r>
              <a:rPr lang="fi-FI" sz="1600" b="1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viimeistään 17 maaliskuuta. </a:t>
            </a:r>
            <a:r>
              <a:rPr lang="fi-FI" sz="16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Tuomaristo, joka koostuu Tetra Pakin ja Ringin edustajista valitsee kolme voittajaa luokista 1-3 ja kolme voittajaa luokista 4-6. </a:t>
            </a:r>
          </a:p>
          <a:p>
            <a:pPr algn="l">
              <a:buNone/>
            </a:pPr>
            <a:endParaRPr lang="fi-FI" sz="1600" i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l">
              <a:buNone/>
            </a:pPr>
            <a:r>
              <a:rPr lang="fi-FI" sz="1600" i="1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äästäkää alkuperäiset ehdotuksenne, jos sattuisitte olemaan yksi voittajista! Voittajaehdotukset tulee lähettää postitse painatusta varten. </a:t>
            </a:r>
            <a:endParaRPr lang="sv-SE" sz="1600" i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334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328750"/>
            <a:ext cx="4954258" cy="486000"/>
          </a:xfrm>
        </p:spPr>
        <p:txBody>
          <a:bodyPr/>
          <a:lstStyle/>
          <a:p>
            <a:pPr algn="ctr"/>
            <a:r>
              <a:rPr lang="sv-SE" sz="3200" err="1">
                <a:latin typeface="Arial" panose="020B0604020202020204" pitchFamily="34" charset="0"/>
                <a:cs typeface="Arial" panose="020B0604020202020204" pitchFamily="34" charset="0"/>
              </a:rPr>
              <a:t>Onnea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err="1">
                <a:latin typeface="Arial" panose="020B0604020202020204" pitchFamily="34" charset="0"/>
                <a:cs typeface="Arial" panose="020B0604020202020204" pitchFamily="34" charset="0"/>
              </a:rPr>
              <a:t>kisaan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29" y="4587974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1F8825F4-47A3-430F-4825-2EE6DC4F1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0097" y="3808360"/>
            <a:ext cx="1329043" cy="1335140"/>
          </a:xfrm>
          <a:prstGeom prst="rect">
            <a:avLst/>
          </a:prstGeom>
        </p:spPr>
      </p:pic>
      <p:pic>
        <p:nvPicPr>
          <p:cNvPr id="7" name="Bildobjekt 6" descr="En bild som visar klädsel, fotbeklädnader, utomhus, person&#10;&#10;Automatiskt genererad beskrivning">
            <a:extLst>
              <a:ext uri="{FF2B5EF4-FFF2-40B4-BE49-F238E27FC236}">
                <a16:creationId xmlns:a16="http://schemas.microsoft.com/office/drawing/2014/main" id="{742BB1F0-CC37-D0AE-8966-77C8F57F3B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9095" y="0"/>
            <a:ext cx="4204905" cy="51435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7AD6465C-252D-965B-C21C-425200E3293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7d9893-b9b9-4b22-8550-5fbed3ee38c7">
      <Terms xmlns="http://schemas.microsoft.com/office/infopath/2007/PartnerControls"/>
    </lcf76f155ced4ddcb4097134ff3c332f>
    <TaxCatchAll xmlns="a37db001-4657-4784-b29c-1a430f0902f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3CCFA9C254E7642B58BC538BABBF752" ma:contentTypeVersion="12" ma:contentTypeDescription="Luo uusi asiakirja." ma:contentTypeScope="" ma:versionID="3f8c9c507ef93fd1692bc0d70170c562">
  <xsd:schema xmlns:xsd="http://www.w3.org/2001/XMLSchema" xmlns:xs="http://www.w3.org/2001/XMLSchema" xmlns:p="http://schemas.microsoft.com/office/2006/metadata/properties" xmlns:ns2="4c7d9893-b9b9-4b22-8550-5fbed3ee38c7" xmlns:ns3="a37db001-4657-4784-b29c-1a430f0902f7" targetNamespace="http://schemas.microsoft.com/office/2006/metadata/properties" ma:root="true" ma:fieldsID="2ee1b12288291395193420c3d8ae8253" ns2:_="" ns3:_="">
    <xsd:import namespace="4c7d9893-b9b9-4b22-8550-5fbed3ee38c7"/>
    <xsd:import namespace="a37db001-4657-4784-b29c-1a430f0902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d9893-b9b9-4b22-8550-5fbed3ee38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uvien tunnisteet" ma:readOnly="false" ma:fieldId="{5cf76f15-5ced-4ddc-b409-7134ff3c332f}" ma:taxonomyMulti="true" ma:sspId="da027efc-e661-46dd-ba2c-828b1da82c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db001-4657-4784-b29c-1a430f0902f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27aed86-fd44-4ec6-aff5-c41360955081}" ma:internalName="TaxCatchAll" ma:showField="CatchAllData" ma:web="a37db001-4657-4784-b29c-1a430f0902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841337-5F41-40DC-9D37-FDD7E86FEB99}">
  <ds:schemaRefs>
    <ds:schemaRef ds:uri="http://purl.org/dc/elements/1.1/"/>
    <ds:schemaRef ds:uri="http://schemas.microsoft.com/office/infopath/2007/PartnerControls"/>
    <ds:schemaRef ds:uri="a37db001-4657-4784-b29c-1a430f0902f7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4c7d9893-b9b9-4b22-8550-5fbed3ee38c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B8BB32-4046-4A51-A7E3-BF9DF5BCF1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7d9893-b9b9-4b22-8550-5fbed3ee38c7"/>
    <ds:schemaRef ds:uri="a37db001-4657-4784-b29c-1a430f090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76</TotalTime>
  <Words>174</Words>
  <Application>Microsoft Macintosh PowerPoint</Application>
  <PresentationFormat>Bildspel på skärmen (16:9)</PresentationFormat>
  <Paragraphs>19</Paragraphs>
  <Slides>6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4" baseType="lpstr">
      <vt:lpstr>Aptos</vt:lpstr>
      <vt:lpstr>Arial</vt:lpstr>
      <vt:lpstr>Helvetica</vt:lpstr>
      <vt:lpstr>ITC Highlander Std Book</vt:lpstr>
      <vt:lpstr>Times</vt:lpstr>
      <vt:lpstr>Times New Roman</vt:lpstr>
      <vt:lpstr>Fazer_template_012020</vt:lpstr>
      <vt:lpstr>think-cell Slide</vt:lpstr>
      <vt:lpstr>Haastetehtävä: Innovatiivinen lajitteluohje </vt:lpstr>
      <vt:lpstr>PowerPoint-presentation</vt:lpstr>
      <vt:lpstr>Esimerkkejä aikaisemmilta kilpailukausilta:</vt:lpstr>
      <vt:lpstr>PowerPoint-presentation</vt:lpstr>
      <vt:lpstr>PowerPoint-presentation</vt:lpstr>
      <vt:lpstr>Onnea kisaan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en</cp:lastModifiedBy>
  <cp:revision>16</cp:revision>
  <dcterms:created xsi:type="dcterms:W3CDTF">2020-08-03T06:03:57Z</dcterms:created>
  <dcterms:modified xsi:type="dcterms:W3CDTF">2025-02-06T14:32:58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FA9C254E7642B58BC538BABBF752</vt:lpwstr>
  </property>
  <property fmtid="{D5CDD505-2E9C-101B-9397-08002B2CF9AE}" pid="3" name="MediaServiceImageTags">
    <vt:lpwstr/>
  </property>
</Properties>
</file>